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media/image4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316" r:id="rId2"/>
    <p:sldId id="315" r:id="rId3"/>
    <p:sldId id="298" r:id="rId4"/>
    <p:sldId id="317" r:id="rId5"/>
    <p:sldId id="302" r:id="rId6"/>
  </p:sldIdLst>
  <p:sldSz cx="12192000" cy="6858000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CDAB0"/>
    <a:srgbClr val="9ADCB7"/>
    <a:srgbClr val="ABD08E"/>
    <a:srgbClr val="D6BE87"/>
    <a:srgbClr val="F19880"/>
    <a:srgbClr val="E56666"/>
    <a:srgbClr val="C50E0E"/>
    <a:srgbClr val="ED7D7D"/>
    <a:srgbClr val="93E1C9"/>
    <a:srgbClr val="EFDF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3" d="100"/>
          <a:sy n="113" d="100"/>
        </p:scale>
        <p:origin x="47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22931" y="2640234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4820588" y="2640234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rPr>
              <a:t>图表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4793831" y="2764611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4793831" y="3154722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9532" y="2885093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E5193BB7-1C61-488D-BD42-2894373D0663}"/>
              </a:ext>
            </a:extLst>
          </p:cNvPr>
          <p:cNvSpPr txBox="1"/>
          <p:nvPr/>
        </p:nvSpPr>
        <p:spPr>
          <a:xfrm>
            <a:off x="4820588" y="3199427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200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复合递进</a:t>
            </a:r>
            <a:r>
              <a:rPr lang="en-US" altLang="zh-CN" sz="3200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-</a:t>
            </a:r>
            <a:r>
              <a:rPr lang="zh-CN" altLang="en-US" sz="3200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流程图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4614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DF5C34AF-4CEF-4485-91B6-38CB5D2219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33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DF5C34AF-4CEF-4485-91B6-38CB5D221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2728732" y="1320730"/>
            <a:ext cx="6734536" cy="42165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如果读者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/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观众不是专业人员，尽量只用三种流程图符号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横平竖直等间距，尽可能避免线段交叉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复杂的流程图需要先在纸上画草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4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入口唯一，出口可以不唯一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5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开始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/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结束必须唯一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6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如果流程图很大很复杂，字体优先选择宋体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51206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DB7EDEE2-6127-49AD-B68C-BC80CCD2C4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948" y="1180226"/>
            <a:ext cx="6410325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730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流程图: 过程 2"/>
          <p:cNvSpPr/>
          <p:nvPr/>
        </p:nvSpPr>
        <p:spPr>
          <a:xfrm>
            <a:off x="2466363" y="2902591"/>
            <a:ext cx="1711354" cy="662730"/>
          </a:xfrm>
          <a:prstGeom prst="flowChartProcess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过程</a:t>
            </a:r>
          </a:p>
        </p:txBody>
      </p:sp>
      <p:sp>
        <p:nvSpPr>
          <p:cNvPr id="4" name="流程图: 决策 3"/>
          <p:cNvSpPr/>
          <p:nvPr/>
        </p:nvSpPr>
        <p:spPr>
          <a:xfrm>
            <a:off x="4924338" y="2750288"/>
            <a:ext cx="2214694" cy="956345"/>
          </a:xfrm>
          <a:prstGeom prst="flowChartDecisi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决策</a:t>
            </a:r>
          </a:p>
        </p:txBody>
      </p:sp>
      <p:sp>
        <p:nvSpPr>
          <p:cNvPr id="6" name="流程图: 终止 5"/>
          <p:cNvSpPr/>
          <p:nvPr/>
        </p:nvSpPr>
        <p:spPr>
          <a:xfrm>
            <a:off x="7988112" y="2961312"/>
            <a:ext cx="1619075" cy="534295"/>
          </a:xfrm>
          <a:prstGeom prst="flowChartTerminator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开始</a:t>
            </a:r>
            <a:r>
              <a:rPr lang="en-US" altLang="zh-CN" dirty="0"/>
              <a:t>/</a:t>
            </a:r>
            <a:r>
              <a:rPr lang="zh-CN" altLang="en-US" dirty="0"/>
              <a:t>终止</a:t>
            </a:r>
          </a:p>
        </p:txBody>
      </p:sp>
    </p:spTree>
    <p:extLst>
      <p:ext uri="{BB962C8B-B14F-4D97-AF65-F5344CB8AC3E}">
        <p14:creationId xmlns:p14="http://schemas.microsoft.com/office/powerpoint/2010/main" val="1242618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>
            <a:extLst>
              <a:ext uri="{FF2B5EF4-FFF2-40B4-BE49-F238E27FC236}">
                <a16:creationId xmlns:a16="http://schemas.microsoft.com/office/drawing/2014/main" id="{35EBCCB3-04FD-4A40-95AF-015195B198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894792" y="612246"/>
            <a:ext cx="2809875" cy="538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4BCD8D0E-819F-4C6F-A7EC-B3CD315B3A09}"/>
              </a:ext>
            </a:extLst>
          </p:cNvPr>
          <p:cNvSpPr>
            <a:spLocks/>
          </p:cNvSpPr>
          <p:nvPr/>
        </p:nvSpPr>
        <p:spPr bwMode="auto">
          <a:xfrm>
            <a:off x="4917017" y="629709"/>
            <a:ext cx="1071563" cy="428625"/>
          </a:xfrm>
          <a:custGeom>
            <a:avLst/>
            <a:gdLst>
              <a:gd name="T0" fmla="*/ 302 w 1512"/>
              <a:gd name="T1" fmla="*/ 605 h 605"/>
              <a:gd name="T2" fmla="*/ 1209 w 1512"/>
              <a:gd name="T3" fmla="*/ 605 h 605"/>
              <a:gd name="T4" fmla="*/ 1512 w 1512"/>
              <a:gd name="T5" fmla="*/ 303 h 605"/>
              <a:gd name="T6" fmla="*/ 1209 w 1512"/>
              <a:gd name="T7" fmla="*/ 0 h 605"/>
              <a:gd name="T8" fmla="*/ 302 w 1512"/>
              <a:gd name="T9" fmla="*/ 0 h 605"/>
              <a:gd name="T10" fmla="*/ 0 w 1512"/>
              <a:gd name="T11" fmla="*/ 303 h 605"/>
              <a:gd name="T12" fmla="*/ 302 w 1512"/>
              <a:gd name="T13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12" h="605">
                <a:moveTo>
                  <a:pt x="302" y="605"/>
                </a:moveTo>
                <a:lnTo>
                  <a:pt x="1209" y="605"/>
                </a:lnTo>
                <a:cubicBezTo>
                  <a:pt x="1376" y="605"/>
                  <a:pt x="1512" y="470"/>
                  <a:pt x="1512" y="303"/>
                </a:cubicBezTo>
                <a:cubicBezTo>
                  <a:pt x="1512" y="136"/>
                  <a:pt x="1376" y="0"/>
                  <a:pt x="1209" y="0"/>
                </a:cubicBezTo>
                <a:lnTo>
                  <a:pt x="302" y="0"/>
                </a:lnTo>
                <a:cubicBezTo>
                  <a:pt x="135" y="0"/>
                  <a:pt x="0" y="136"/>
                  <a:pt x="0" y="303"/>
                </a:cubicBezTo>
                <a:cubicBezTo>
                  <a:pt x="0" y="470"/>
                  <a:pt x="135" y="605"/>
                  <a:pt x="302" y="605"/>
                </a:cubicBezTo>
                <a:close/>
              </a:path>
            </a:pathLst>
          </a:custGeom>
          <a:solidFill>
            <a:srgbClr val="5595B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1823F97C-5200-47DB-A72B-DF3141C38CBD}"/>
              </a:ext>
            </a:extLst>
          </p:cNvPr>
          <p:cNvSpPr>
            <a:spLocks/>
          </p:cNvSpPr>
          <p:nvPr/>
        </p:nvSpPr>
        <p:spPr bwMode="auto">
          <a:xfrm>
            <a:off x="4917017" y="629709"/>
            <a:ext cx="1071563" cy="428625"/>
          </a:xfrm>
          <a:custGeom>
            <a:avLst/>
            <a:gdLst>
              <a:gd name="T0" fmla="*/ 302 w 1512"/>
              <a:gd name="T1" fmla="*/ 605 h 605"/>
              <a:gd name="T2" fmla="*/ 1209 w 1512"/>
              <a:gd name="T3" fmla="*/ 605 h 605"/>
              <a:gd name="T4" fmla="*/ 1512 w 1512"/>
              <a:gd name="T5" fmla="*/ 303 h 605"/>
              <a:gd name="T6" fmla="*/ 1209 w 1512"/>
              <a:gd name="T7" fmla="*/ 0 h 605"/>
              <a:gd name="T8" fmla="*/ 302 w 1512"/>
              <a:gd name="T9" fmla="*/ 0 h 605"/>
              <a:gd name="T10" fmla="*/ 0 w 1512"/>
              <a:gd name="T11" fmla="*/ 303 h 605"/>
              <a:gd name="T12" fmla="*/ 302 w 1512"/>
              <a:gd name="T13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12" h="605">
                <a:moveTo>
                  <a:pt x="302" y="605"/>
                </a:moveTo>
                <a:lnTo>
                  <a:pt x="1209" y="605"/>
                </a:lnTo>
                <a:cubicBezTo>
                  <a:pt x="1376" y="605"/>
                  <a:pt x="1512" y="470"/>
                  <a:pt x="1512" y="303"/>
                </a:cubicBezTo>
                <a:cubicBezTo>
                  <a:pt x="1512" y="136"/>
                  <a:pt x="1376" y="0"/>
                  <a:pt x="1209" y="0"/>
                </a:cubicBezTo>
                <a:lnTo>
                  <a:pt x="302" y="0"/>
                </a:lnTo>
                <a:cubicBezTo>
                  <a:pt x="135" y="0"/>
                  <a:pt x="0" y="136"/>
                  <a:pt x="0" y="303"/>
                </a:cubicBezTo>
                <a:cubicBezTo>
                  <a:pt x="0" y="470"/>
                  <a:pt x="135" y="605"/>
                  <a:pt x="302" y="605"/>
                </a:cubicBezTo>
                <a:close/>
              </a:path>
            </a:pathLst>
          </a:custGeom>
          <a:noFill/>
          <a:ln w="11113" cap="sq">
            <a:solidFill>
              <a:srgbClr val="5595B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F2E26B92-791D-465F-8946-1E6A5F9AC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5480" y="759884"/>
            <a:ext cx="36195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FEFFFF"/>
                </a:solidFill>
                <a:effectLst/>
                <a:latin typeface="Calibri" panose="020F0502020204030204" pitchFamily="34" charset="0"/>
              </a:rPr>
              <a:t>Kaishi</a:t>
            </a:r>
            <a:endParaRPr kumimoji="0" lang="zh-CN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Line 8">
            <a:extLst>
              <a:ext uri="{FF2B5EF4-FFF2-40B4-BE49-F238E27FC236}">
                <a16:creationId xmlns:a16="http://schemas.microsoft.com/office/drawing/2014/main" id="{792BF6FC-B5DC-44D6-BCC4-88079689DA1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3592" y="1058334"/>
            <a:ext cx="0" cy="549275"/>
          </a:xfrm>
          <a:prstGeom prst="line">
            <a:avLst/>
          </a:prstGeom>
          <a:noFill/>
          <a:ln w="14288" cap="rnd">
            <a:solidFill>
              <a:srgbClr val="5595B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D257689-C8C6-45DC-A36E-84A664D51201}"/>
              </a:ext>
            </a:extLst>
          </p:cNvPr>
          <p:cNvSpPr>
            <a:spLocks/>
          </p:cNvSpPr>
          <p:nvPr/>
        </p:nvSpPr>
        <p:spPr bwMode="auto">
          <a:xfrm>
            <a:off x="5399617" y="1594909"/>
            <a:ext cx="106363" cy="106363"/>
          </a:xfrm>
          <a:custGeom>
            <a:avLst/>
            <a:gdLst>
              <a:gd name="T0" fmla="*/ 67 w 67"/>
              <a:gd name="T1" fmla="*/ 0 h 67"/>
              <a:gd name="T2" fmla="*/ 34 w 67"/>
              <a:gd name="T3" fmla="*/ 67 h 67"/>
              <a:gd name="T4" fmla="*/ 0 w 67"/>
              <a:gd name="T5" fmla="*/ 0 h 67"/>
              <a:gd name="T6" fmla="*/ 67 w 67"/>
              <a:gd name="T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" h="67">
                <a:moveTo>
                  <a:pt x="67" y="0"/>
                </a:moveTo>
                <a:lnTo>
                  <a:pt x="34" y="67"/>
                </a:lnTo>
                <a:lnTo>
                  <a:pt x="0" y="0"/>
                </a:lnTo>
                <a:lnTo>
                  <a:pt x="67" y="0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3939AF98-C8B3-4437-AD4F-072A5DBF67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017" y="1701271"/>
            <a:ext cx="1071563" cy="641350"/>
          </a:xfrm>
          <a:prstGeom prst="rect">
            <a:avLst/>
          </a:pr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5523839A-A4F7-48A7-84D6-9B0AE4B37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017" y="1701271"/>
            <a:ext cx="1071563" cy="641350"/>
          </a:xfrm>
          <a:prstGeom prst="rect">
            <a:avLst/>
          </a:prstGeom>
          <a:noFill/>
          <a:ln w="3175" cap="sq">
            <a:solidFill>
              <a:srgbClr val="5595B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2F38F4C7-5B97-4797-BD11-7DB406FF8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7380" y="1955271"/>
            <a:ext cx="238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FEFFFF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第一步</a:t>
            </a:r>
            <a:endParaRPr kumimoji="0" lang="zh-CN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Line 13">
            <a:extLst>
              <a:ext uri="{FF2B5EF4-FFF2-40B4-BE49-F238E27FC236}">
                <a16:creationId xmlns:a16="http://schemas.microsoft.com/office/drawing/2014/main" id="{7276C402-8B5E-4B55-BBE6-C8E7BE2B2E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3592" y="2342621"/>
            <a:ext cx="0" cy="550863"/>
          </a:xfrm>
          <a:prstGeom prst="line">
            <a:avLst/>
          </a:prstGeom>
          <a:noFill/>
          <a:ln w="14288" cap="rnd">
            <a:solidFill>
              <a:srgbClr val="5595B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14">
            <a:extLst>
              <a:ext uri="{FF2B5EF4-FFF2-40B4-BE49-F238E27FC236}">
                <a16:creationId xmlns:a16="http://schemas.microsoft.com/office/drawing/2014/main" id="{398FAA63-9569-4314-BC0F-A060EF4171F5}"/>
              </a:ext>
            </a:extLst>
          </p:cNvPr>
          <p:cNvSpPr>
            <a:spLocks/>
          </p:cNvSpPr>
          <p:nvPr/>
        </p:nvSpPr>
        <p:spPr bwMode="auto">
          <a:xfrm>
            <a:off x="5399617" y="2879196"/>
            <a:ext cx="106363" cy="106363"/>
          </a:xfrm>
          <a:custGeom>
            <a:avLst/>
            <a:gdLst>
              <a:gd name="T0" fmla="*/ 67 w 67"/>
              <a:gd name="T1" fmla="*/ 0 h 67"/>
              <a:gd name="T2" fmla="*/ 34 w 67"/>
              <a:gd name="T3" fmla="*/ 67 h 67"/>
              <a:gd name="T4" fmla="*/ 0 w 67"/>
              <a:gd name="T5" fmla="*/ 0 h 67"/>
              <a:gd name="T6" fmla="*/ 67 w 67"/>
              <a:gd name="T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" h="67">
                <a:moveTo>
                  <a:pt x="67" y="0"/>
                </a:moveTo>
                <a:lnTo>
                  <a:pt x="34" y="67"/>
                </a:lnTo>
                <a:lnTo>
                  <a:pt x="0" y="0"/>
                </a:lnTo>
                <a:lnTo>
                  <a:pt x="67" y="0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320F7B9-A5B8-4E02-9C2D-63681FC77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017" y="2985559"/>
            <a:ext cx="1071563" cy="644525"/>
          </a:xfrm>
          <a:prstGeom prst="rect">
            <a:avLst/>
          </a:pr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Rectangle 16">
            <a:extLst>
              <a:ext uri="{FF2B5EF4-FFF2-40B4-BE49-F238E27FC236}">
                <a16:creationId xmlns:a16="http://schemas.microsoft.com/office/drawing/2014/main" id="{BE136EF7-8266-4B8D-A975-D80B712C3B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017" y="2985559"/>
            <a:ext cx="1071563" cy="644525"/>
          </a:xfrm>
          <a:prstGeom prst="rect">
            <a:avLst/>
          </a:prstGeom>
          <a:noFill/>
          <a:ln w="3175" cap="sq">
            <a:solidFill>
              <a:srgbClr val="5595B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0797FC60-A69A-4CDC-92FC-8A6C74DBA9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7380" y="3241146"/>
            <a:ext cx="238125" cy="13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FEFFFF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第二步</a:t>
            </a:r>
            <a:endParaRPr kumimoji="0" lang="zh-CN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18">
            <a:extLst>
              <a:ext uri="{FF2B5EF4-FFF2-40B4-BE49-F238E27FC236}">
                <a16:creationId xmlns:a16="http://schemas.microsoft.com/office/drawing/2014/main" id="{D082FCAC-7217-4214-AE30-9341E5F17F7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3592" y="3630084"/>
            <a:ext cx="0" cy="547688"/>
          </a:xfrm>
          <a:prstGeom prst="line">
            <a:avLst/>
          </a:prstGeom>
          <a:noFill/>
          <a:ln w="14288" cap="rnd">
            <a:solidFill>
              <a:srgbClr val="5595B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8C40E8CB-377F-4EF3-A78A-FCEADA2249BA}"/>
              </a:ext>
            </a:extLst>
          </p:cNvPr>
          <p:cNvSpPr>
            <a:spLocks/>
          </p:cNvSpPr>
          <p:nvPr/>
        </p:nvSpPr>
        <p:spPr bwMode="auto">
          <a:xfrm>
            <a:off x="5399617" y="4165071"/>
            <a:ext cx="106363" cy="106363"/>
          </a:xfrm>
          <a:custGeom>
            <a:avLst/>
            <a:gdLst>
              <a:gd name="T0" fmla="*/ 67 w 67"/>
              <a:gd name="T1" fmla="*/ 0 h 67"/>
              <a:gd name="T2" fmla="*/ 34 w 67"/>
              <a:gd name="T3" fmla="*/ 67 h 67"/>
              <a:gd name="T4" fmla="*/ 0 w 67"/>
              <a:gd name="T5" fmla="*/ 0 h 67"/>
              <a:gd name="T6" fmla="*/ 67 w 67"/>
              <a:gd name="T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" h="67">
                <a:moveTo>
                  <a:pt x="67" y="0"/>
                </a:moveTo>
                <a:lnTo>
                  <a:pt x="34" y="67"/>
                </a:lnTo>
                <a:lnTo>
                  <a:pt x="0" y="0"/>
                </a:lnTo>
                <a:lnTo>
                  <a:pt x="67" y="0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Freeform 20">
            <a:extLst>
              <a:ext uri="{FF2B5EF4-FFF2-40B4-BE49-F238E27FC236}">
                <a16:creationId xmlns:a16="http://schemas.microsoft.com/office/drawing/2014/main" id="{D9A2052D-5C0E-49C5-B09B-F99DA27F0A10}"/>
              </a:ext>
            </a:extLst>
          </p:cNvPr>
          <p:cNvSpPr>
            <a:spLocks/>
          </p:cNvSpPr>
          <p:nvPr/>
        </p:nvSpPr>
        <p:spPr bwMode="auto">
          <a:xfrm>
            <a:off x="4917017" y="4271434"/>
            <a:ext cx="1071563" cy="642938"/>
          </a:xfrm>
          <a:custGeom>
            <a:avLst/>
            <a:gdLst>
              <a:gd name="T0" fmla="*/ 0 w 675"/>
              <a:gd name="T1" fmla="*/ 203 h 405"/>
              <a:gd name="T2" fmla="*/ 338 w 675"/>
              <a:gd name="T3" fmla="*/ 0 h 405"/>
              <a:gd name="T4" fmla="*/ 675 w 675"/>
              <a:gd name="T5" fmla="*/ 203 h 405"/>
              <a:gd name="T6" fmla="*/ 338 w 675"/>
              <a:gd name="T7" fmla="*/ 405 h 405"/>
              <a:gd name="T8" fmla="*/ 0 w 675"/>
              <a:gd name="T9" fmla="*/ 203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5" h="405">
                <a:moveTo>
                  <a:pt x="0" y="203"/>
                </a:moveTo>
                <a:lnTo>
                  <a:pt x="338" y="0"/>
                </a:lnTo>
                <a:lnTo>
                  <a:pt x="675" y="203"/>
                </a:lnTo>
                <a:lnTo>
                  <a:pt x="338" y="405"/>
                </a:lnTo>
                <a:lnTo>
                  <a:pt x="0" y="203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8FF4F03C-5200-4387-B069-20C469DB3967}"/>
              </a:ext>
            </a:extLst>
          </p:cNvPr>
          <p:cNvSpPr>
            <a:spLocks/>
          </p:cNvSpPr>
          <p:nvPr/>
        </p:nvSpPr>
        <p:spPr bwMode="auto">
          <a:xfrm>
            <a:off x="4917017" y="4271434"/>
            <a:ext cx="1071563" cy="642938"/>
          </a:xfrm>
          <a:custGeom>
            <a:avLst/>
            <a:gdLst>
              <a:gd name="T0" fmla="*/ 0 w 675"/>
              <a:gd name="T1" fmla="*/ 203 h 405"/>
              <a:gd name="T2" fmla="*/ 338 w 675"/>
              <a:gd name="T3" fmla="*/ 0 h 405"/>
              <a:gd name="T4" fmla="*/ 675 w 675"/>
              <a:gd name="T5" fmla="*/ 203 h 405"/>
              <a:gd name="T6" fmla="*/ 338 w 675"/>
              <a:gd name="T7" fmla="*/ 405 h 405"/>
              <a:gd name="T8" fmla="*/ 0 w 675"/>
              <a:gd name="T9" fmla="*/ 203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5" h="405">
                <a:moveTo>
                  <a:pt x="0" y="203"/>
                </a:moveTo>
                <a:lnTo>
                  <a:pt x="338" y="0"/>
                </a:lnTo>
                <a:lnTo>
                  <a:pt x="675" y="203"/>
                </a:lnTo>
                <a:lnTo>
                  <a:pt x="338" y="405"/>
                </a:lnTo>
                <a:lnTo>
                  <a:pt x="0" y="203"/>
                </a:lnTo>
                <a:close/>
              </a:path>
            </a:pathLst>
          </a:custGeom>
          <a:noFill/>
          <a:ln w="11113" cap="sq">
            <a:solidFill>
              <a:srgbClr val="5595B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Line 22">
            <a:extLst>
              <a:ext uri="{FF2B5EF4-FFF2-40B4-BE49-F238E27FC236}">
                <a16:creationId xmlns:a16="http://schemas.microsoft.com/office/drawing/2014/main" id="{78694962-66D0-4596-9CBA-4CB872099062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3592" y="4914371"/>
            <a:ext cx="0" cy="549275"/>
          </a:xfrm>
          <a:prstGeom prst="line">
            <a:avLst/>
          </a:prstGeom>
          <a:noFill/>
          <a:ln w="14288" cap="rnd">
            <a:solidFill>
              <a:srgbClr val="5595B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Freeform 23">
            <a:extLst>
              <a:ext uri="{FF2B5EF4-FFF2-40B4-BE49-F238E27FC236}">
                <a16:creationId xmlns:a16="http://schemas.microsoft.com/office/drawing/2014/main" id="{5E59C779-7ED7-4F60-BC73-AF10CF3D10FB}"/>
              </a:ext>
            </a:extLst>
          </p:cNvPr>
          <p:cNvSpPr>
            <a:spLocks/>
          </p:cNvSpPr>
          <p:nvPr/>
        </p:nvSpPr>
        <p:spPr bwMode="auto">
          <a:xfrm>
            <a:off x="5399617" y="5450946"/>
            <a:ext cx="106363" cy="106363"/>
          </a:xfrm>
          <a:custGeom>
            <a:avLst/>
            <a:gdLst>
              <a:gd name="T0" fmla="*/ 67 w 67"/>
              <a:gd name="T1" fmla="*/ 0 h 67"/>
              <a:gd name="T2" fmla="*/ 34 w 67"/>
              <a:gd name="T3" fmla="*/ 67 h 67"/>
              <a:gd name="T4" fmla="*/ 0 w 67"/>
              <a:gd name="T5" fmla="*/ 0 h 67"/>
              <a:gd name="T6" fmla="*/ 67 w 67"/>
              <a:gd name="T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" h="67">
                <a:moveTo>
                  <a:pt x="67" y="0"/>
                </a:moveTo>
                <a:lnTo>
                  <a:pt x="34" y="67"/>
                </a:lnTo>
                <a:lnTo>
                  <a:pt x="0" y="0"/>
                </a:lnTo>
                <a:lnTo>
                  <a:pt x="67" y="0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4" name="Freeform 24">
            <a:extLst>
              <a:ext uri="{FF2B5EF4-FFF2-40B4-BE49-F238E27FC236}">
                <a16:creationId xmlns:a16="http://schemas.microsoft.com/office/drawing/2014/main" id="{78825DB7-D501-468B-BD6F-4E4316FE8C46}"/>
              </a:ext>
            </a:extLst>
          </p:cNvPr>
          <p:cNvSpPr>
            <a:spLocks/>
          </p:cNvSpPr>
          <p:nvPr/>
        </p:nvSpPr>
        <p:spPr bwMode="auto">
          <a:xfrm>
            <a:off x="4917017" y="5557309"/>
            <a:ext cx="1071563" cy="428625"/>
          </a:xfrm>
          <a:custGeom>
            <a:avLst/>
            <a:gdLst>
              <a:gd name="T0" fmla="*/ 302 w 1512"/>
              <a:gd name="T1" fmla="*/ 605 h 605"/>
              <a:gd name="T2" fmla="*/ 1209 w 1512"/>
              <a:gd name="T3" fmla="*/ 605 h 605"/>
              <a:gd name="T4" fmla="*/ 1512 w 1512"/>
              <a:gd name="T5" fmla="*/ 302 h 605"/>
              <a:gd name="T6" fmla="*/ 1209 w 1512"/>
              <a:gd name="T7" fmla="*/ 0 h 605"/>
              <a:gd name="T8" fmla="*/ 302 w 1512"/>
              <a:gd name="T9" fmla="*/ 0 h 605"/>
              <a:gd name="T10" fmla="*/ 0 w 1512"/>
              <a:gd name="T11" fmla="*/ 302 h 605"/>
              <a:gd name="T12" fmla="*/ 302 w 1512"/>
              <a:gd name="T13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12" h="605">
                <a:moveTo>
                  <a:pt x="302" y="605"/>
                </a:moveTo>
                <a:lnTo>
                  <a:pt x="1209" y="605"/>
                </a:lnTo>
                <a:cubicBezTo>
                  <a:pt x="1376" y="605"/>
                  <a:pt x="1512" y="469"/>
                  <a:pt x="1512" y="302"/>
                </a:cubicBezTo>
                <a:cubicBezTo>
                  <a:pt x="1512" y="135"/>
                  <a:pt x="1376" y="0"/>
                  <a:pt x="1209" y="0"/>
                </a:cubicBezTo>
                <a:lnTo>
                  <a:pt x="302" y="0"/>
                </a:lnTo>
                <a:cubicBezTo>
                  <a:pt x="135" y="0"/>
                  <a:pt x="0" y="135"/>
                  <a:pt x="0" y="302"/>
                </a:cubicBezTo>
                <a:cubicBezTo>
                  <a:pt x="0" y="469"/>
                  <a:pt x="135" y="605"/>
                  <a:pt x="302" y="605"/>
                </a:cubicBezTo>
                <a:close/>
              </a:path>
            </a:pathLst>
          </a:custGeom>
          <a:solidFill>
            <a:srgbClr val="5595B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5" name="Freeform 25">
            <a:extLst>
              <a:ext uri="{FF2B5EF4-FFF2-40B4-BE49-F238E27FC236}">
                <a16:creationId xmlns:a16="http://schemas.microsoft.com/office/drawing/2014/main" id="{88327779-379D-41D3-9841-F19BE809532A}"/>
              </a:ext>
            </a:extLst>
          </p:cNvPr>
          <p:cNvSpPr>
            <a:spLocks/>
          </p:cNvSpPr>
          <p:nvPr/>
        </p:nvSpPr>
        <p:spPr bwMode="auto">
          <a:xfrm>
            <a:off x="4917017" y="5557309"/>
            <a:ext cx="1071563" cy="428625"/>
          </a:xfrm>
          <a:custGeom>
            <a:avLst/>
            <a:gdLst>
              <a:gd name="T0" fmla="*/ 302 w 1512"/>
              <a:gd name="T1" fmla="*/ 605 h 605"/>
              <a:gd name="T2" fmla="*/ 1209 w 1512"/>
              <a:gd name="T3" fmla="*/ 605 h 605"/>
              <a:gd name="T4" fmla="*/ 1512 w 1512"/>
              <a:gd name="T5" fmla="*/ 302 h 605"/>
              <a:gd name="T6" fmla="*/ 1209 w 1512"/>
              <a:gd name="T7" fmla="*/ 0 h 605"/>
              <a:gd name="T8" fmla="*/ 302 w 1512"/>
              <a:gd name="T9" fmla="*/ 0 h 605"/>
              <a:gd name="T10" fmla="*/ 0 w 1512"/>
              <a:gd name="T11" fmla="*/ 302 h 605"/>
              <a:gd name="T12" fmla="*/ 302 w 1512"/>
              <a:gd name="T13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12" h="605">
                <a:moveTo>
                  <a:pt x="302" y="605"/>
                </a:moveTo>
                <a:lnTo>
                  <a:pt x="1209" y="605"/>
                </a:lnTo>
                <a:cubicBezTo>
                  <a:pt x="1376" y="605"/>
                  <a:pt x="1512" y="469"/>
                  <a:pt x="1512" y="302"/>
                </a:cubicBezTo>
                <a:cubicBezTo>
                  <a:pt x="1512" y="135"/>
                  <a:pt x="1376" y="0"/>
                  <a:pt x="1209" y="0"/>
                </a:cubicBezTo>
                <a:lnTo>
                  <a:pt x="302" y="0"/>
                </a:lnTo>
                <a:cubicBezTo>
                  <a:pt x="135" y="0"/>
                  <a:pt x="0" y="135"/>
                  <a:pt x="0" y="302"/>
                </a:cubicBezTo>
                <a:cubicBezTo>
                  <a:pt x="0" y="469"/>
                  <a:pt x="135" y="605"/>
                  <a:pt x="302" y="605"/>
                </a:cubicBezTo>
                <a:close/>
              </a:path>
            </a:pathLst>
          </a:custGeom>
          <a:noFill/>
          <a:ln w="11113" cap="sq">
            <a:solidFill>
              <a:srgbClr val="5595B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6" name="Line 26">
            <a:extLst>
              <a:ext uri="{FF2B5EF4-FFF2-40B4-BE49-F238E27FC236}">
                <a16:creationId xmlns:a16="http://schemas.microsoft.com/office/drawing/2014/main" id="{790E3FAB-3F98-406E-BB61-AB2CE4F5289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88580" y="4593696"/>
            <a:ext cx="549275" cy="0"/>
          </a:xfrm>
          <a:prstGeom prst="line">
            <a:avLst/>
          </a:prstGeom>
          <a:noFill/>
          <a:ln w="14288" cap="rnd">
            <a:solidFill>
              <a:srgbClr val="5595B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7" name="Freeform 27">
            <a:extLst>
              <a:ext uri="{FF2B5EF4-FFF2-40B4-BE49-F238E27FC236}">
                <a16:creationId xmlns:a16="http://schemas.microsoft.com/office/drawing/2014/main" id="{493646E7-A278-4594-A64E-20EB0B2B7F60}"/>
              </a:ext>
            </a:extLst>
          </p:cNvPr>
          <p:cNvSpPr>
            <a:spLocks/>
          </p:cNvSpPr>
          <p:nvPr/>
        </p:nvSpPr>
        <p:spPr bwMode="auto">
          <a:xfrm>
            <a:off x="6525155" y="4539721"/>
            <a:ext cx="104775" cy="106363"/>
          </a:xfrm>
          <a:custGeom>
            <a:avLst/>
            <a:gdLst>
              <a:gd name="T0" fmla="*/ 0 w 66"/>
              <a:gd name="T1" fmla="*/ 0 h 67"/>
              <a:gd name="T2" fmla="*/ 66 w 66"/>
              <a:gd name="T3" fmla="*/ 34 h 67"/>
              <a:gd name="T4" fmla="*/ 0 w 66"/>
              <a:gd name="T5" fmla="*/ 67 h 67"/>
              <a:gd name="T6" fmla="*/ 0 w 66"/>
              <a:gd name="T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" h="67">
                <a:moveTo>
                  <a:pt x="0" y="0"/>
                </a:moveTo>
                <a:lnTo>
                  <a:pt x="66" y="34"/>
                </a:lnTo>
                <a:lnTo>
                  <a:pt x="0" y="67"/>
                </a:lnTo>
                <a:lnTo>
                  <a:pt x="0" y="0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8" name="Rectangle 28">
            <a:extLst>
              <a:ext uri="{FF2B5EF4-FFF2-40B4-BE49-F238E27FC236}">
                <a16:creationId xmlns:a16="http://schemas.microsoft.com/office/drawing/2014/main" id="{2ED4BB58-36DF-42F3-8D22-488653AE0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9930" y="4271434"/>
            <a:ext cx="1071563" cy="642938"/>
          </a:xfrm>
          <a:prstGeom prst="rect">
            <a:avLst/>
          </a:pr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Rectangle 29">
            <a:extLst>
              <a:ext uri="{FF2B5EF4-FFF2-40B4-BE49-F238E27FC236}">
                <a16:creationId xmlns:a16="http://schemas.microsoft.com/office/drawing/2014/main" id="{4EFD82FF-085A-49B7-BFDF-6A4598815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9930" y="4271434"/>
            <a:ext cx="1071563" cy="642938"/>
          </a:xfrm>
          <a:prstGeom prst="rect">
            <a:avLst/>
          </a:prstGeom>
          <a:noFill/>
          <a:ln w="3175" cap="sq">
            <a:solidFill>
              <a:srgbClr val="5595B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0" name="Rectangle 30">
            <a:extLst>
              <a:ext uri="{FF2B5EF4-FFF2-40B4-BE49-F238E27FC236}">
                <a16:creationId xmlns:a16="http://schemas.microsoft.com/office/drawing/2014/main" id="{5C744BE8-491C-4E2E-99C9-42B7F2809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3692" y="4401609"/>
            <a:ext cx="1936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4672C4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否</a:t>
            </a:r>
            <a:endParaRPr kumimoji="0" lang="zh-CN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31">
            <a:extLst>
              <a:ext uri="{FF2B5EF4-FFF2-40B4-BE49-F238E27FC236}">
                <a16:creationId xmlns:a16="http://schemas.microsoft.com/office/drawing/2014/main" id="{4C8D22B1-953A-49AF-A878-26E906773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7105" y="5135034"/>
            <a:ext cx="1936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4672C4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是</a:t>
            </a:r>
            <a:endParaRPr kumimoji="0" lang="zh-CN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Freeform 32">
            <a:extLst>
              <a:ext uri="{FF2B5EF4-FFF2-40B4-BE49-F238E27FC236}">
                <a16:creationId xmlns:a16="http://schemas.microsoft.com/office/drawing/2014/main" id="{23DFD2B7-CC9F-4A34-8806-40F9AF66FF23}"/>
              </a:ext>
            </a:extLst>
          </p:cNvPr>
          <p:cNvSpPr>
            <a:spLocks/>
          </p:cNvSpPr>
          <p:nvPr/>
        </p:nvSpPr>
        <p:spPr bwMode="auto">
          <a:xfrm>
            <a:off x="5545667" y="1432984"/>
            <a:ext cx="1620838" cy="2838450"/>
          </a:xfrm>
          <a:custGeom>
            <a:avLst/>
            <a:gdLst>
              <a:gd name="T0" fmla="*/ 1021 w 1021"/>
              <a:gd name="T1" fmla="*/ 1788 h 1788"/>
              <a:gd name="T2" fmla="*/ 1021 w 1021"/>
              <a:gd name="T3" fmla="*/ 0 h 1788"/>
              <a:gd name="T4" fmla="*/ 0 w 1021"/>
              <a:gd name="T5" fmla="*/ 0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21" h="1788">
                <a:moveTo>
                  <a:pt x="1021" y="1788"/>
                </a:moveTo>
                <a:lnTo>
                  <a:pt x="1021" y="0"/>
                </a:lnTo>
                <a:lnTo>
                  <a:pt x="0" y="0"/>
                </a:lnTo>
              </a:path>
            </a:pathLst>
          </a:custGeom>
          <a:noFill/>
          <a:ln w="14288" cap="rnd">
            <a:solidFill>
              <a:srgbClr val="5595B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Freeform 33">
            <a:extLst>
              <a:ext uri="{FF2B5EF4-FFF2-40B4-BE49-F238E27FC236}">
                <a16:creationId xmlns:a16="http://schemas.microsoft.com/office/drawing/2014/main" id="{2C0ED595-257D-4E64-9168-70D715F6625E}"/>
              </a:ext>
            </a:extLst>
          </p:cNvPr>
          <p:cNvSpPr>
            <a:spLocks/>
          </p:cNvSpPr>
          <p:nvPr/>
        </p:nvSpPr>
        <p:spPr bwMode="auto">
          <a:xfrm>
            <a:off x="5453592" y="1380596"/>
            <a:ext cx="104775" cy="106363"/>
          </a:xfrm>
          <a:custGeom>
            <a:avLst/>
            <a:gdLst>
              <a:gd name="T0" fmla="*/ 66 w 66"/>
              <a:gd name="T1" fmla="*/ 67 h 67"/>
              <a:gd name="T2" fmla="*/ 0 w 66"/>
              <a:gd name="T3" fmla="*/ 33 h 67"/>
              <a:gd name="T4" fmla="*/ 66 w 66"/>
              <a:gd name="T5" fmla="*/ 0 h 67"/>
              <a:gd name="T6" fmla="*/ 66 w 66"/>
              <a:gd name="T7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" h="67">
                <a:moveTo>
                  <a:pt x="66" y="67"/>
                </a:moveTo>
                <a:lnTo>
                  <a:pt x="0" y="33"/>
                </a:lnTo>
                <a:lnTo>
                  <a:pt x="66" y="0"/>
                </a:lnTo>
                <a:lnTo>
                  <a:pt x="66" y="67"/>
                </a:lnTo>
                <a:close/>
              </a:path>
            </a:pathLst>
          </a:custGeom>
          <a:solidFill>
            <a:srgbClr val="5595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135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65</TotalTime>
  <Words>81</Words>
  <Application>Microsoft Office PowerPoint</Application>
  <PresentationFormat>宽屏</PresentationFormat>
  <Paragraphs>23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5" baseType="lpstr">
      <vt:lpstr>等线</vt:lpstr>
      <vt:lpstr>等线 Light</vt:lpstr>
      <vt:lpstr>黑体</vt:lpstr>
      <vt:lpstr>华文中宋</vt:lpstr>
      <vt:lpstr>思源黑体 CN Medium</vt:lpstr>
      <vt:lpstr>思源黑体 CN Normal</vt:lpstr>
      <vt:lpstr>Arial</vt:lpstr>
      <vt:lpstr>Calibri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Administrator</cp:lastModifiedBy>
  <cp:revision>130</cp:revision>
  <dcterms:created xsi:type="dcterms:W3CDTF">2018-08-23T10:08:30Z</dcterms:created>
  <dcterms:modified xsi:type="dcterms:W3CDTF">2018-11-13T16:52:03Z</dcterms:modified>
</cp:coreProperties>
</file>